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269" r:id="rId3"/>
    <p:sldId id="258" r:id="rId4"/>
    <p:sldId id="270" r:id="rId5"/>
    <p:sldId id="294" r:id="rId6"/>
    <p:sldId id="295" r:id="rId7"/>
    <p:sldId id="283" r:id="rId8"/>
    <p:sldId id="285" r:id="rId9"/>
    <p:sldId id="284" r:id="rId10"/>
    <p:sldId id="304" r:id="rId11"/>
    <p:sldId id="296" r:id="rId12"/>
    <p:sldId id="305" r:id="rId13"/>
    <p:sldId id="286" r:id="rId14"/>
    <p:sldId id="290" r:id="rId15"/>
    <p:sldId id="291" r:id="rId16"/>
    <p:sldId id="287" r:id="rId17"/>
    <p:sldId id="302" r:id="rId18"/>
    <p:sldId id="306" r:id="rId19"/>
    <p:sldId id="303" r:id="rId20"/>
    <p:sldId id="261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78" d="100"/>
          <a:sy n="78" d="100"/>
        </p:scale>
        <p:origin x="86" y="245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1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8/1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4W6vJhqrHv/" TargetMode="Externa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rYJX3WSRwF/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8r4Pm9gSwT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8.6-8.14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暑假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8/14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3AF58C-4067-45EE-8FB5-BD5F28EDB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逆元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7038DB2-B0E5-49A0-88FB-857674F72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95E1320-71FC-4B5D-802D-DB9BBCBE9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FA5BAEF-EEDE-4C20-AC72-57DAA4FAC3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59200"/>
            <a:ext cx="9914418" cy="3963408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A650B72F-13E7-4FF0-9EE2-EE3F7AAD2D92}"/>
              </a:ext>
            </a:extLst>
          </p:cNvPr>
          <p:cNvSpPr txBox="1"/>
          <p:nvPr/>
        </p:nvSpPr>
        <p:spPr>
          <a:xfrm>
            <a:off x="3047205" y="5103673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void init()</a:t>
            </a:r>
          </a:p>
          <a:p>
            <a:r>
              <a:rPr lang="zh-CN" altLang="en-US" dirty="0"/>
              <a:t>{</a:t>
            </a:r>
          </a:p>
          <a:p>
            <a:r>
              <a:rPr lang="zh-CN" altLang="en-US" dirty="0"/>
              <a:t>    inv[1] = 1;</a:t>
            </a:r>
          </a:p>
          <a:p>
            <a:r>
              <a:rPr lang="zh-CN" altLang="en-US" dirty="0"/>
              <a:t>    for (int i = 2; i &lt;= N; i ++)</a:t>
            </a:r>
          </a:p>
          <a:p>
            <a:r>
              <a:rPr lang="zh-CN" altLang="en-US" dirty="0"/>
              <a:t>        inv[i] = mul(dec(mod, mod / i), inv[mod % i]); </a:t>
            </a:r>
          </a:p>
          <a:p>
            <a:r>
              <a:rPr lang="zh-CN" alt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84100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16E67D4-C561-46F6-9AC0-7A7F19877F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F0190E3-3436-4736-A041-D12D63906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90B1DB83-5B4C-40F7-99BF-CEB6B6272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>
            <a:normAutofit/>
          </a:bodyPr>
          <a:lstStyle/>
          <a:p>
            <a:pPr algn="l"/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D.OR</a:t>
            </a:r>
            <a:endParaRPr lang="en-US" altLang="zh-CN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B08AE3C-F43B-4D86-896C-1221E89233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36855"/>
            <a:ext cx="9228620" cy="4816257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D6EDF90-ED00-4298-9F38-BD262E915E67}"/>
              </a:ext>
            </a:extLst>
          </p:cNvPr>
          <p:cNvSpPr txBox="1"/>
          <p:nvPr/>
        </p:nvSpPr>
        <p:spPr>
          <a:xfrm>
            <a:off x="6292645" y="4817806"/>
            <a:ext cx="2920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总的分三种情况</a:t>
            </a:r>
          </a:p>
        </p:txBody>
      </p:sp>
    </p:spTree>
    <p:extLst>
      <p:ext uri="{BB962C8B-B14F-4D97-AF65-F5344CB8AC3E}">
        <p14:creationId xmlns:p14="http://schemas.microsoft.com/office/powerpoint/2010/main" val="25212322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22EDC3-9A93-4BB5-856D-4D0255194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D.OR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6A7626C-BA50-46C8-9BFB-C67F507F4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7B3928-E59C-491B-A03A-393B47316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26243A5-2C21-4E1A-B72A-38CCED0098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42625"/>
            <a:ext cx="9175275" cy="4983912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1023B6E-2113-45CB-92AD-152FA0F37630}"/>
              </a:ext>
            </a:extLst>
          </p:cNvPr>
          <p:cNvSpPr txBox="1"/>
          <p:nvPr/>
        </p:nvSpPr>
        <p:spPr>
          <a:xfrm>
            <a:off x="7423355" y="3982065"/>
            <a:ext cx="3106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细分</a:t>
            </a:r>
            <a:r>
              <a:rPr lang="en-US" altLang="zh-CN" dirty="0"/>
              <a:t>8</a:t>
            </a:r>
            <a:r>
              <a:rPr lang="zh-CN" altLang="en-US" dirty="0"/>
              <a:t>种，有重复情况</a:t>
            </a:r>
          </a:p>
        </p:txBody>
      </p:sp>
    </p:spTree>
    <p:extLst>
      <p:ext uri="{BB962C8B-B14F-4D97-AF65-F5344CB8AC3E}">
        <p14:creationId xmlns:p14="http://schemas.microsoft.com/office/powerpoint/2010/main" val="42500205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C6A04E-0EC7-453F-98D5-60D549F55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6C45F0-8927-41B2-A831-6E516FBA7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4CBEFAC-8FC3-4830-9573-6F4164BF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4002962-0694-4EEA-8156-26758BD64FB7}"/>
              </a:ext>
            </a:extLst>
          </p:cNvPr>
          <p:cNvSpPr txBox="1"/>
          <p:nvPr/>
        </p:nvSpPr>
        <p:spPr>
          <a:xfrm>
            <a:off x="669924" y="1550918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>
                <a:hlinkClick r:id="rId2"/>
              </a:rPr>
              <a:t>Ubuntu 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8217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63FC62-1A98-4B0E-B706-9539B3664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1" i="0" dirty="0" err="1">
                <a:solidFill>
                  <a:srgbClr val="4F4F4F"/>
                </a:solidFill>
                <a:effectLst/>
                <a:latin typeface="PingFang SC"/>
              </a:rPr>
              <a:t>K.Yet</a:t>
            </a:r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 Another Problem About Pi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92C3CDB-6E7B-4A59-934C-0F75F7509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E7B6AEE-B3A8-452D-AA0E-433CE964F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E6B9BDE-2897-47DC-B63D-5857063EB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601800"/>
            <a:ext cx="9182896" cy="2789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0536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1580AA-1048-4F74-95E8-42D6A4713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EDB9A87-0367-4804-8EDA-C0562EA60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13F290-BF6A-41B4-8D89-11C633EEC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6651EDA-B81E-4FAC-9F8F-D1D1FD751450}"/>
              </a:ext>
            </a:extLst>
          </p:cNvPr>
          <p:cNvSpPr txBox="1"/>
          <p:nvPr/>
        </p:nvSpPr>
        <p:spPr>
          <a:xfrm>
            <a:off x="669924" y="16146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5918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分图匹配</a:t>
            </a:r>
            <a:r>
              <a:rPr lang="en-US" altLang="zh-CN" dirty="0"/>
              <a:t>+</a:t>
            </a:r>
            <a:r>
              <a:rPr lang="zh-CN" altLang="en-US" dirty="0"/>
              <a:t>组合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两篇博客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0334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两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8031117-13DB-41EC-9BE8-0C42F19D83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11584"/>
            <a:ext cx="6371303" cy="3834831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928054FC-8CF7-438D-AC06-EC02D7B40D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0174" y="1511584"/>
            <a:ext cx="7774438" cy="38825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0103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4119AB-6956-4C30-A192-CF6F1870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分图匹配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AFC08FC-0CFA-4B82-8BB1-50D1AFE39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482ADE-7308-4DB9-A5C9-508E35CA7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12D2204-DB4E-4093-A212-1D69236DE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488288"/>
            <a:ext cx="8032176" cy="160033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90D08A5-1395-48F7-A9FD-7467E9B4E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3094689"/>
            <a:ext cx="9541067" cy="156985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18799492-5CD1-4DF1-A2A8-47152122EE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763" y="5080127"/>
            <a:ext cx="6866215" cy="5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6981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5E4EEC-376E-4BE7-911B-85C31582D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下周计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6F920BB-756B-489E-99D2-DE0E790DC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9B90F2C-33A7-41CC-AC64-6F3CDEB47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21D99F8-8A0B-417B-B221-59E143453ECC}"/>
              </a:ext>
            </a:extLst>
          </p:cNvPr>
          <p:cNvSpPr txBox="1"/>
          <p:nvPr/>
        </p:nvSpPr>
        <p:spPr>
          <a:xfrm>
            <a:off x="834501" y="1615736"/>
            <a:ext cx="649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继续做二分图匹配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524182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677436" cy="4083608"/>
            <a:chOff x="757282" y="1700808"/>
            <a:chExt cx="10677436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677436" cy="4083608"/>
              <a:chOff x="1175743" y="1700808"/>
              <a:chExt cx="10262310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739758" y="1779399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7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8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二分图匹配 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+ 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组合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8/14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7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两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F1176F6-710C-4D4D-94AE-ABEC5947765A}"/>
              </a:ext>
            </a:extLst>
          </p:cNvPr>
          <p:cNvSpPr txBox="1"/>
          <p:nvPr/>
        </p:nvSpPr>
        <p:spPr>
          <a:xfrm>
            <a:off x="10369118" y="2112885"/>
            <a:ext cx="115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H,I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41DF808-3F11-4967-A439-5DCBC57D05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96" y="1496505"/>
            <a:ext cx="9812594" cy="49503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DFF47A-8060-4F0F-9A0F-C8E4FE4AD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zh-CN" b="1" i="0" dirty="0" err="1">
                <a:solidFill>
                  <a:srgbClr val="4F4F4F"/>
                </a:solidFill>
                <a:effectLst/>
                <a:latin typeface="PingFang SC"/>
              </a:rPr>
              <a:t>H.xay</a:t>
            </a:r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 loves count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4E67518-730E-4132-9624-2605156AF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81B0D7-5A64-4209-A023-B856CFB39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75FFE55-411B-46CA-8D3E-84ADFFC700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075" y="1553891"/>
            <a:ext cx="9434378" cy="225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07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E01F3-3183-4F9F-A812-C6642ADC9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753CC3-ECF1-490E-9CA3-E1230FC5A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D40503-B14C-482D-8F1B-AE69FF50C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49FC663-956D-4CA6-AA47-EF938C7073BD}"/>
              </a:ext>
            </a:extLst>
          </p:cNvPr>
          <p:cNvSpPr txBox="1"/>
          <p:nvPr/>
        </p:nvSpPr>
        <p:spPr>
          <a:xfrm>
            <a:off x="669924" y="168346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2797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8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en-US" altLang="zh-CN" dirty="0"/>
              <a:t>2</a:t>
            </a:r>
            <a:r>
              <a:rPr lang="zh-CN" altLang="en-US" dirty="0"/>
              <a:t>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BA7639F-C239-4FCC-9250-E8EA71C47467}"/>
              </a:ext>
            </a:extLst>
          </p:cNvPr>
          <p:cNvSpPr txBox="1"/>
          <p:nvPr/>
        </p:nvSpPr>
        <p:spPr>
          <a:xfrm>
            <a:off x="9339309" y="1953087"/>
            <a:ext cx="26068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A,D,E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F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A5AE336-9180-43C0-B4F5-4FA4663D7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806" y="1365004"/>
            <a:ext cx="9046385" cy="43278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1" i="0" dirty="0" err="1">
                <a:solidFill>
                  <a:srgbClr val="4F4F4F"/>
                </a:solidFill>
                <a:effectLst/>
                <a:latin typeface="PingFang SC"/>
              </a:rPr>
              <a:t>A.Ares</a:t>
            </a:r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, Toilet Ares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273186-E4B7-48C2-AB69-0736478145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460525"/>
            <a:ext cx="9297206" cy="4153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</TotalTime>
  <Words>257</Words>
  <Application>Microsoft Office PowerPoint</Application>
  <PresentationFormat>宽屏</PresentationFormat>
  <Paragraphs>79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6" baseType="lpstr">
      <vt:lpstr>PingFang SC</vt:lpstr>
      <vt:lpstr>Arial</vt:lpstr>
      <vt:lpstr>Calibri</vt:lpstr>
      <vt:lpstr>Impact</vt:lpstr>
      <vt:lpstr>主题5</vt:lpstr>
      <vt:lpstr>think-cell Slide</vt:lpstr>
      <vt:lpstr>暑假阶段学习总结</vt:lpstr>
      <vt:lpstr>PowerPoint 演示文稿</vt:lpstr>
      <vt:lpstr>牛客7</vt:lpstr>
      <vt:lpstr>一篇博客</vt:lpstr>
      <vt:lpstr>H.xay loves count</vt:lpstr>
      <vt:lpstr>代码</vt:lpstr>
      <vt:lpstr>牛客8</vt:lpstr>
      <vt:lpstr>一篇博客</vt:lpstr>
      <vt:lpstr>A.Ares, Toilet Ares</vt:lpstr>
      <vt:lpstr>逆元</vt:lpstr>
      <vt:lpstr>D.OR</vt:lpstr>
      <vt:lpstr>D.OR</vt:lpstr>
      <vt:lpstr>代码</vt:lpstr>
      <vt:lpstr>K.Yet Another Problem About Pi</vt:lpstr>
      <vt:lpstr>代码</vt:lpstr>
      <vt:lpstr>二分图匹配+组合</vt:lpstr>
      <vt:lpstr>两篇博客</vt:lpstr>
      <vt:lpstr>二分图匹配</vt:lpstr>
      <vt:lpstr>下周计划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17</cp:revision>
  <cp:lastPrinted>2018-08-20T16:00:00Z</cp:lastPrinted>
  <dcterms:created xsi:type="dcterms:W3CDTF">2018-08-20T16:00:00Z</dcterms:created>
  <dcterms:modified xsi:type="dcterms:W3CDTF">2021-08-13T05:4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